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85" r:id="rId6"/>
    <p:sldId id="287" r:id="rId7"/>
    <p:sldId id="288" r:id="rId8"/>
    <p:sldId id="289" r:id="rId9"/>
    <p:sldId id="286" r:id="rId10"/>
    <p:sldId id="293" r:id="rId11"/>
    <p:sldId id="292" r:id="rId12"/>
    <p:sldId id="291" r:id="rId13"/>
    <p:sldId id="295" r:id="rId14"/>
    <p:sldId id="290" r:id="rId15"/>
    <p:sldId id="294" r:id="rId16"/>
    <p:sldId id="298" r:id="rId17"/>
    <p:sldId id="284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1765D8-8203-4D56-B2D2-2112DAC137AB}" v="776" dt="2023-09-11T04:05:55.5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5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10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31334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1853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4251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470753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BA9AD6EA-2DF8-5939-A506-F16ED13A9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2063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6">
            <a:extLst>
              <a:ext uri="{FF2B5EF4-FFF2-40B4-BE49-F238E27FC236}">
                <a16:creationId xmlns:a16="http://schemas.microsoft.com/office/drawing/2014/main" id="{5BC24487-9FB9-A0A9-4AE2-22B5874BD39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9741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1F45F7-077C-499A-8055-91596D906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52F332D-3CDC-4D8E-AD43-52559783D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1AA2DA-8D81-486B-A333-D1BC8D8F7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0803EA-7A94-4882-A808-A9D283A70C8C}" type="datetimeFigureOut">
              <a:rPr lang="en-IN" smtClean="0"/>
              <a:t>30-07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47D43-8D93-4BE1-8F2D-B5D8C344D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C2BC95-0468-4C4D-A96E-725682014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022E3-7B7B-4DC1-931E-C9E2C54B9D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40557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95919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98130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-2" y="0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785191" y="6520168"/>
            <a:ext cx="9730409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E01359E6-7FF4-DDDA-82C4-706E0CE1E1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02042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201882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501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8315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4813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2903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2051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901448B-4337-4854-ACDF-BAADACCDC8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3716073"/>
            <a:ext cx="10525125" cy="701731"/>
          </a:xfrm>
        </p:spPr>
        <p:txBody>
          <a:bodyPr/>
          <a:lstStyle/>
          <a:p>
            <a:r>
              <a:rPr lang="en-IN" dirty="0">
                <a:solidFill>
                  <a:srgbClr val="92D050"/>
                </a:solidFill>
              </a:rPr>
              <a:t>APIs and API Monitoring</a:t>
            </a:r>
          </a:p>
        </p:txBody>
      </p:sp>
    </p:spTree>
    <p:extLst>
      <p:ext uri="{BB962C8B-B14F-4D97-AF65-F5344CB8AC3E}">
        <p14:creationId xmlns:p14="http://schemas.microsoft.com/office/powerpoint/2010/main" val="31334907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85A78B-225D-AC25-ABF7-4F8E78C51D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860" y="244349"/>
            <a:ext cx="11260279" cy="5689919"/>
          </a:xfrm>
        </p:spPr>
        <p:txBody>
          <a:bodyPr/>
          <a:lstStyle/>
          <a:p>
            <a:endParaRPr lang="en-IN" b="1" dirty="0">
              <a:solidFill>
                <a:srgbClr val="0070C0"/>
              </a:solidFill>
            </a:endParaRPr>
          </a:p>
          <a:p>
            <a:r>
              <a:rPr lang="en-IN" b="1" dirty="0">
                <a:solidFill>
                  <a:srgbClr val="0070C0"/>
                </a:solidFill>
              </a:rPr>
              <a:t>Tools for API Monitoring</a:t>
            </a:r>
          </a:p>
          <a:p>
            <a:endParaRPr lang="en-IN" b="1" dirty="0">
              <a:solidFill>
                <a:srgbClr val="0070C0"/>
              </a:solidFill>
            </a:endParaRPr>
          </a:p>
          <a:p>
            <a:r>
              <a:rPr lang="en-IN" b="1" dirty="0"/>
              <a:t>Commercial Tools</a:t>
            </a:r>
          </a:p>
          <a:p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/>
              <a:t>Postman Monitoring</a:t>
            </a:r>
            <a:r>
              <a:rPr lang="en-IN" dirty="0"/>
              <a:t>: Tests and monitors API endpoi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/>
              <a:t>New Relic</a:t>
            </a:r>
            <a:r>
              <a:rPr lang="en-IN" dirty="0"/>
              <a:t>: Performance monitoring and aler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/>
              <a:t>Datadog</a:t>
            </a:r>
            <a:r>
              <a:rPr lang="en-IN" dirty="0"/>
              <a:t>: Full-stack observability and metrics</a:t>
            </a:r>
          </a:p>
          <a:p>
            <a:pPr marL="457200" lvl="1" indent="0">
              <a:buNone/>
            </a:pPr>
            <a:endParaRPr lang="en-IN" dirty="0"/>
          </a:p>
          <a:p>
            <a:r>
              <a:rPr lang="en-IN" b="1" dirty="0"/>
              <a:t>Open-Source Tools</a:t>
            </a:r>
          </a:p>
          <a:p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/>
              <a:t>Prometheus</a:t>
            </a:r>
            <a:r>
              <a:rPr lang="en-IN" dirty="0"/>
              <a:t>: Metrics collection and monito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b="1" dirty="0"/>
              <a:t>Grafana</a:t>
            </a:r>
            <a:r>
              <a:rPr lang="en-IN" dirty="0"/>
              <a:t>: Visualization and analysis of metrics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31E2C-1C05-CEA4-8375-9DC3E06B06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330337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5601391-08D1-67B3-74C8-B33EF8CAF1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516" y="364708"/>
            <a:ext cx="11260279" cy="5728182"/>
          </a:xfrm>
        </p:spPr>
        <p:txBody>
          <a:bodyPr/>
          <a:lstStyle/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>
                <a:solidFill>
                  <a:srgbClr val="0070C0"/>
                </a:solidFill>
              </a:rPr>
              <a:t>Implementing API Monitoring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/>
              <a:t>Setting Up Monitor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fine what to monitor (endpoints, parameters)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Alerting and Notification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nfigure alerts for anomalies or failure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Reporting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Generate reports on performance and issues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A4DE1C-3A33-E224-3630-1E85E26A79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18205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B539C5-66FB-919E-51AB-50496FF556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855" y="420691"/>
            <a:ext cx="11260279" cy="5532240"/>
          </a:xfrm>
        </p:spPr>
        <p:txBody>
          <a:bodyPr/>
          <a:lstStyle/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>
                <a:solidFill>
                  <a:srgbClr val="0070C0"/>
                </a:solidFill>
              </a:rPr>
              <a:t>Best Practices for API Monitoring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/>
              <a:t>Regular Testing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utomated tests and health check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Scaling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onitor performance at different load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Review and Iterat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ntinuously improve monitoring based on insights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F0729C-E3D9-CC85-7F1B-3E5695598B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78253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EA3F1B-5AE5-9F06-A4CB-7AF99E469A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504667"/>
            <a:ext cx="11260279" cy="5532239"/>
          </a:xfrm>
        </p:spPr>
        <p:txBody>
          <a:bodyPr/>
          <a:lstStyle/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Case Studie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/>
              <a:t>Real-world Exampl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How companies use API monito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mpact of effective monitoring on business outcomes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746A69-A692-D64E-E074-30AFB6912C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72498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068639-DAEF-4534-B232-8D158F04ED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78F59F-7F70-4D93-A9B7-BB930F8F360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88100"/>
            <a:ext cx="369888" cy="263525"/>
          </a:xfrm>
        </p:spPr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914089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B9469D-CCBF-FD5C-BD5D-D6E5E91806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30022"/>
            <a:ext cx="11260279" cy="5868141"/>
          </a:xfrm>
        </p:spPr>
        <p:txBody>
          <a:bodyPr/>
          <a:lstStyle/>
          <a:p>
            <a:endParaRPr lang="en-US" b="1" dirty="0"/>
          </a:p>
          <a:p>
            <a:endParaRPr lang="en-US" b="1" dirty="0"/>
          </a:p>
          <a:p>
            <a:r>
              <a:rPr lang="en-US" sz="2400" b="1" dirty="0">
                <a:solidFill>
                  <a:srgbClr val="0070C0"/>
                </a:solidFill>
              </a:rPr>
              <a:t>Introduction</a:t>
            </a:r>
          </a:p>
          <a:p>
            <a:endParaRPr lang="en-US" b="1" dirty="0"/>
          </a:p>
          <a:p>
            <a:r>
              <a:rPr lang="en-US" b="1" dirty="0"/>
              <a:t>What is an API?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finition: Application Programming Interfa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urpose: Facilitates communication between different software application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Importance of API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xamples: Integrations in web apps, mobile apps, third-party services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7C0D0F-E12C-6CD1-09C8-5E7D65BE93A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2801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CCB876-8B11-56C2-A987-3A06A0C345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504667"/>
            <a:ext cx="11260279" cy="5597553"/>
          </a:xfrm>
        </p:spPr>
        <p:txBody>
          <a:bodyPr/>
          <a:lstStyle/>
          <a:p>
            <a:endParaRPr lang="en-IN" b="1" dirty="0"/>
          </a:p>
          <a:p>
            <a:endParaRPr lang="en-IN" b="1" dirty="0"/>
          </a:p>
          <a:p>
            <a:r>
              <a:rPr lang="en-IN" b="1" dirty="0">
                <a:solidFill>
                  <a:srgbClr val="0070C0"/>
                </a:solidFill>
              </a:rPr>
              <a:t>Types of APIs</a:t>
            </a:r>
          </a:p>
          <a:p>
            <a:endParaRPr lang="en-IN" b="1" dirty="0"/>
          </a:p>
          <a:p>
            <a:r>
              <a:rPr lang="en-IN" b="1" dirty="0"/>
              <a:t>REST (Representational State Transfer)</a:t>
            </a:r>
          </a:p>
          <a:p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Stateless, uses HTTP methods (GET, POST, PUT, DELET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URL-based</a:t>
            </a:r>
          </a:p>
          <a:p>
            <a:pPr marL="457200" lvl="1" indent="0">
              <a:buNone/>
            </a:pPr>
            <a:endParaRPr lang="en-IN" dirty="0"/>
          </a:p>
          <a:p>
            <a:r>
              <a:rPr lang="en-IN" b="1" dirty="0"/>
              <a:t>SOAP (Simple Object Access Protocol)</a:t>
            </a:r>
          </a:p>
          <a:p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Protocol-based, uses XM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Standardized with strict rules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B81D9F-28C7-B4C1-B518-0D002F80437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84350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9B41C3-27AE-6BE1-3FC0-12BAE3046BC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AF742DE5-8DF4-EFB5-AC2F-9F41969CA916}"/>
              </a:ext>
            </a:extLst>
          </p:cNvPr>
          <p:cNvSpPr>
            <a:spLocks noGrp="1" noChangeArrowheads="1"/>
          </p:cNvSpPr>
          <p:nvPr>
            <p:ph type="body" sz="quarter" idx="14"/>
          </p:nvPr>
        </p:nvSpPr>
        <p:spPr bwMode="auto">
          <a:xfrm>
            <a:off x="557213" y="1816866"/>
            <a:ext cx="9949056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raphQL</a:t>
            </a: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Flexible queries, JSON-base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llows clients to request specific dat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ebhoo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Event-based, server-to-server communic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Push notific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7930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281950-868E-A0E7-53DD-23E1A6BE87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860" y="326570"/>
            <a:ext cx="11260279" cy="5831633"/>
          </a:xfrm>
        </p:spPr>
        <p:txBody>
          <a:bodyPr>
            <a:normAutofit fontScale="92500" lnSpcReduction="20000"/>
          </a:bodyPr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API Components</a:t>
            </a:r>
          </a:p>
          <a:p>
            <a:endParaRPr lang="en-US" b="1" dirty="0"/>
          </a:p>
          <a:p>
            <a:r>
              <a:rPr lang="en-US" b="1" dirty="0"/>
              <a:t>Endpoint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URL paths to interact with resource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Requests and Respons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ethods (GET, POST, PUT, DELET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tatus Codes (200 OK, 404 Not Found)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Header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etadata (e.g., Content-Type, Authorization)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Body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ata sent in requests or responses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A1DADE-D865-9E09-63EE-8E82CF927C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93109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353F5E1-FBAB-0B44-DFBE-DF67A7C40D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430021"/>
            <a:ext cx="11260279" cy="5774836"/>
          </a:xfrm>
        </p:spPr>
        <p:txBody>
          <a:bodyPr/>
          <a:lstStyle/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>
                <a:solidFill>
                  <a:srgbClr val="0070C0"/>
                </a:solidFill>
              </a:rPr>
              <a:t>How APIs Work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/>
              <a:t>Client-Server Model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lient sends a request to the serv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erver processes the request and sends back a response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Authentication and Authoriza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I Keys, OAuth, JWT (JSON Web Tokens)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Rate Limiting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ontrols the number of requests to prevent abuse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ED4A91-D642-0C58-D17B-0738FC5DA0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702669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BCEA0B1-4F61-D5B8-0B3C-1F50EB50A2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346046"/>
            <a:ext cx="11260279" cy="5830819"/>
          </a:xfrm>
        </p:spPr>
        <p:txBody>
          <a:bodyPr/>
          <a:lstStyle/>
          <a:p>
            <a:endParaRPr lang="en-IN" b="1" dirty="0"/>
          </a:p>
          <a:p>
            <a:r>
              <a:rPr lang="en-IN" b="1" dirty="0">
                <a:solidFill>
                  <a:srgbClr val="0070C0"/>
                </a:solidFill>
              </a:rPr>
              <a:t>API Design Best Practices</a:t>
            </a:r>
          </a:p>
          <a:p>
            <a:endParaRPr lang="en-IN" b="1" dirty="0">
              <a:solidFill>
                <a:srgbClr val="0070C0"/>
              </a:solidFill>
            </a:endParaRPr>
          </a:p>
          <a:p>
            <a:r>
              <a:rPr lang="en-IN" b="1" dirty="0"/>
              <a:t>Consistency</a:t>
            </a:r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Standard naming conventions</a:t>
            </a:r>
          </a:p>
          <a:p>
            <a:pPr marL="457200" lvl="1" indent="0">
              <a:buNone/>
            </a:pPr>
            <a:endParaRPr lang="en-IN" dirty="0"/>
          </a:p>
          <a:p>
            <a:r>
              <a:rPr lang="en-IN" b="1" dirty="0"/>
              <a:t>Documentation</a:t>
            </a:r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Clear and comprehensive documentation (e.g., Swagger/</a:t>
            </a:r>
            <a:r>
              <a:rPr lang="en-IN" dirty="0" err="1"/>
              <a:t>OpenAPI</a:t>
            </a:r>
            <a:r>
              <a:rPr lang="en-IN" dirty="0"/>
              <a:t>)</a:t>
            </a:r>
          </a:p>
          <a:p>
            <a:pPr marL="457200" lvl="1" indent="0">
              <a:buNone/>
            </a:pPr>
            <a:endParaRPr lang="en-IN" dirty="0"/>
          </a:p>
          <a:p>
            <a:r>
              <a:rPr lang="en-IN" b="1" dirty="0"/>
              <a:t>Error Handling</a:t>
            </a:r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Meaningful error messages and status codes</a:t>
            </a:r>
          </a:p>
          <a:p>
            <a:pPr marL="457200" lvl="1" indent="0">
              <a:buNone/>
            </a:pPr>
            <a:endParaRPr lang="en-IN" dirty="0"/>
          </a:p>
          <a:p>
            <a:r>
              <a:rPr lang="en-IN" b="1" dirty="0"/>
              <a:t>Versioning</a:t>
            </a:r>
            <a:endParaRPr lang="en-IN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dirty="0"/>
              <a:t>Maintain backward compatibility (e.g., /v1/, /v2/)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D84D94-3075-9DE0-FAE1-EF5C4A3C64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53374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6ACFF3E-F0F2-9005-F7ED-4ACB14E086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6186" y="411360"/>
            <a:ext cx="11260279" cy="5560232"/>
          </a:xfrm>
        </p:spPr>
        <p:txBody>
          <a:bodyPr/>
          <a:lstStyle/>
          <a:p>
            <a:endParaRPr lang="en-US" b="1" dirty="0"/>
          </a:p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API Monitoring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/>
              <a:t>What is API Monitoring?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racking and ensuring the performance and reliability of API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Why is it Important?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tect issues earl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sure uptime and perform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onitor API usage and traffic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AA5D2D-9240-4FD1-AB84-8387C2EB1B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18091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4959E70-2761-0213-AE18-3F850EF5F4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133" y="336716"/>
            <a:ext cx="11260279" cy="5784166"/>
          </a:xfrm>
        </p:spPr>
        <p:txBody>
          <a:bodyPr>
            <a:normAutofit fontScale="92500" lnSpcReduction="20000"/>
          </a:bodyPr>
          <a:lstStyle/>
          <a:p>
            <a:endParaRPr lang="en-US" b="1" dirty="0"/>
          </a:p>
          <a:p>
            <a:r>
              <a:rPr lang="en-US" b="1" dirty="0">
                <a:solidFill>
                  <a:srgbClr val="0070C0"/>
                </a:solidFill>
              </a:rPr>
              <a:t>API Monitoring Metric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/>
              <a:t>Uptim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vailability of the API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Response Time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ime taken to respond to a request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Error Rates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requency of errors (e.g., 4xx, 5xx status codes)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b="1" dirty="0"/>
              <a:t>Throughput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umber of requests handled per second</a:t>
            </a:r>
          </a:p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E05D2D-1BBA-A43D-26DA-DA876A1FB88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8960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DD39DAD7772647B41C8FE861EEA391" ma:contentTypeVersion="15" ma:contentTypeDescription="Create a new document." ma:contentTypeScope="" ma:versionID="8360c95a2f62bf75c1caa6825518678e">
  <xsd:schema xmlns:xsd="http://www.w3.org/2001/XMLSchema" xmlns:xs="http://www.w3.org/2001/XMLSchema" xmlns:p="http://schemas.microsoft.com/office/2006/metadata/properties" xmlns:ns3="68319706-930a-435e-b76e-f1bb4b3746a4" xmlns:ns4="98c4397e-77a1-4be1-bada-f3fa4bdd655c" targetNamespace="http://schemas.microsoft.com/office/2006/metadata/properties" ma:root="true" ma:fieldsID="84775e9745987ca7bb9d40a825b219ad" ns3:_="" ns4:_="">
    <xsd:import namespace="68319706-930a-435e-b76e-f1bb4b3746a4"/>
    <xsd:import namespace="98c4397e-77a1-4be1-bada-f3fa4bdd655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LengthInSecond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319706-930a-435e-b76e-f1bb4b3746a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c4397e-77a1-4be1-bada-f3fa4bdd65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8c4397e-77a1-4be1-bada-f3fa4bdd655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1205A4-BB8A-4316-BDD9-077E49E564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319706-930a-435e-b76e-f1bb4b3746a4"/>
    <ds:schemaRef ds:uri="98c4397e-77a1-4be1-bada-f3fa4bdd65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8CC0D78-2BF2-438E-9FC7-FFC8AB5E6204}">
  <ds:schemaRefs>
    <ds:schemaRef ds:uri="http://purl.org/dc/elements/1.1/"/>
    <ds:schemaRef ds:uri="68319706-930a-435e-b76e-f1bb4b3746a4"/>
    <ds:schemaRef ds:uri="98c4397e-77a1-4be1-bada-f3fa4bdd655c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7500125-760C-4DA8-83C8-ACF4A641C9D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23</TotalTime>
  <Words>441</Words>
  <Application>Microsoft Office PowerPoint</Application>
  <PresentationFormat>Widescreen</PresentationFormat>
  <Paragraphs>17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Arial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ornima Sivakumar [UNext]</dc:creator>
  <cp:lastModifiedBy>Yamarapu David Prabhakar</cp:lastModifiedBy>
  <cp:revision>31</cp:revision>
  <dcterms:created xsi:type="dcterms:W3CDTF">2023-04-07T11:31:48Z</dcterms:created>
  <dcterms:modified xsi:type="dcterms:W3CDTF">2024-07-30T09:1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DD39DAD7772647B41C8FE861EEA391</vt:lpwstr>
  </property>
</Properties>
</file>